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es-ES" altLang="fr-FR" dirty="0"/>
              <a:t>Aumente la eficiencia del equipo hasta un 0,3% y reduzca el costo de mantenimiento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Sistema de alimentación de alta velocidad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fr-FR" sz="800" kern="0" dirty="0" err="1"/>
              <a:t>Eficiencia</a:t>
            </a:r>
            <a:r>
              <a:rPr lang="fr-FR" sz="800" kern="0" dirty="0"/>
              <a:t>, </a:t>
            </a:r>
            <a:r>
              <a:rPr lang="es-ES" sz="800" dirty="0">
                <a:solidFill>
                  <a:srgbClr val="000000"/>
                </a:solidFill>
              </a:rPr>
              <a:t>Mantenimiento, </a:t>
            </a:r>
            <a:r>
              <a:rPr lang="fr-FR" sz="800" kern="0" dirty="0" err="1">
                <a:solidFill>
                  <a:srgbClr val="000000"/>
                </a:solidFill>
              </a:rPr>
              <a:t>Obsolescencia</a:t>
            </a:r>
            <a:r>
              <a:rPr lang="fr-FR" sz="800" kern="0" dirty="0">
                <a:solidFill>
                  <a:srgbClr val="000000"/>
                </a:solidFill>
              </a:rPr>
              <a:t> , </a:t>
            </a:r>
            <a:r>
              <a:rPr lang="de-CH" altLang="fr-FR" sz="800" dirty="0" err="1">
                <a:solidFill>
                  <a:srgbClr val="000000"/>
                </a:solidFill>
              </a:rPr>
              <a:t>Seguridad</a:t>
            </a:r>
            <a:r>
              <a:rPr lang="de-CH" altLang="fr-FR" sz="800" dirty="0">
                <a:solidFill>
                  <a:srgbClr val="000000"/>
                </a:solidFill>
              </a:rPr>
              <a:t> y </a:t>
            </a:r>
            <a:r>
              <a:rPr lang="de-CH" altLang="fr-FR" sz="800" dirty="0" err="1">
                <a:solidFill>
                  <a:srgbClr val="000000"/>
                </a:solidFill>
              </a:rPr>
              <a:t>ergonomí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en-US" sz="800" kern="0" dirty="0" err="1"/>
              <a:t>Flexibilidad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D, Atlantic, RIO, NDE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VRB-013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Reducción del coste de mantenimiento (recambios + intervención) hasta un 60%  </a:t>
            </a:r>
          </a:p>
          <a:p>
            <a:pPr marL="0" indent="0">
              <a:buClr>
                <a:srgbClr val="E64B00"/>
              </a:buClr>
            </a:pPr>
            <a:r>
              <a:rPr lang="es-ES" altLang="fr-FR" sz="900" dirty="0">
                <a:solidFill>
                  <a:srgbClr val="000000"/>
                </a:solidFill>
              </a:rPr>
              <a:t>Es decir, </a:t>
            </a:r>
            <a:r>
              <a:rPr lang="es-ES" altLang="fr-FR" sz="900" dirty="0" err="1">
                <a:solidFill>
                  <a:srgbClr val="000000"/>
                </a:solidFill>
              </a:rPr>
              <a:t>lavabotellas</a:t>
            </a:r>
            <a:r>
              <a:rPr lang="es-ES" altLang="fr-FR" sz="900" dirty="0">
                <a:solidFill>
                  <a:srgbClr val="000000"/>
                </a:solidFill>
              </a:rPr>
              <a:t> HD-</a:t>
            </a:r>
            <a:r>
              <a:rPr lang="es-ES" altLang="fr-FR" sz="900" dirty="0" err="1">
                <a:solidFill>
                  <a:srgbClr val="000000"/>
                </a:solidFill>
              </a:rPr>
              <a:t>ht</a:t>
            </a:r>
            <a:r>
              <a:rPr lang="es-ES" altLang="fr-FR" sz="900" dirty="0">
                <a:solidFill>
                  <a:srgbClr val="000000"/>
                </a:solidFill>
              </a:rPr>
              <a:t> 95-140 / 46       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Sistema de alimentación original </a:t>
            </a:r>
            <a:r>
              <a:rPr lang="es-ES" altLang="fr-FR" sz="900" dirty="0">
                <a:solidFill>
                  <a:srgbClr val="000000"/>
                </a:solidFill>
                <a:sym typeface="Wingdings" panose="05000000000000000000" pitchFamily="2" charset="2"/>
              </a:rPr>
              <a:t></a:t>
            </a:r>
            <a:r>
              <a:rPr lang="es-ES" altLang="fr-FR" sz="900" dirty="0">
                <a:solidFill>
                  <a:srgbClr val="000000"/>
                </a:solidFill>
              </a:rPr>
              <a:t> 50 k € / año       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Sistema de alimentación de alta velocidad </a:t>
            </a:r>
            <a:r>
              <a:rPr lang="es-ES" altLang="fr-FR" sz="900" dirty="0">
                <a:solidFill>
                  <a:srgbClr val="000000"/>
                </a:solidFill>
                <a:sym typeface="Wingdings" panose="05000000000000000000" pitchFamily="2" charset="2"/>
              </a:rPr>
              <a:t></a:t>
            </a:r>
            <a:r>
              <a:rPr lang="es-ES" altLang="fr-FR" sz="900" dirty="0">
                <a:solidFill>
                  <a:srgbClr val="000000"/>
                </a:solidFill>
              </a:rPr>
              <a:t> 20 k € / año      </a:t>
            </a:r>
          </a:p>
          <a:p>
            <a:pPr marL="0" indent="0">
              <a:buClr>
                <a:srgbClr val="E64B00"/>
              </a:buClr>
            </a:pPr>
            <a:r>
              <a:rPr lang="es-ES" altLang="fr-FR" sz="900" dirty="0">
                <a:solidFill>
                  <a:srgbClr val="FF0000"/>
                </a:solidFill>
              </a:rPr>
              <a:t>Ahorro de mantenimiento </a:t>
            </a:r>
            <a:r>
              <a:rPr lang="es-ES" altLang="fr-FR" sz="9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es-ES" altLang="fr-FR" sz="900" dirty="0">
                <a:solidFill>
                  <a:srgbClr val="FF0000"/>
                </a:solidFill>
              </a:rPr>
              <a:t> hasta 30 k € / año</a:t>
            </a:r>
          </a:p>
          <a:p>
            <a:pPr marL="0" indent="0">
              <a:buClr>
                <a:srgbClr val="E64B00"/>
              </a:buClr>
            </a:pPr>
            <a:endParaRPr lang="es-ES" altLang="fr-FR" sz="900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Restablecimiento de seguridades con motorreductores y no manualmente, acortando los tiempos de recuperación y aumentando la eficiencia hasta un 0,3%</a:t>
            </a:r>
          </a:p>
          <a:p>
            <a:pPr marL="0" indent="0">
              <a:buClr>
                <a:srgbClr val="E64B00"/>
              </a:buClr>
            </a:pPr>
            <a:r>
              <a:rPr lang="es-ES" altLang="fr-FR" sz="900" dirty="0">
                <a:solidFill>
                  <a:srgbClr val="000000"/>
                </a:solidFill>
              </a:rPr>
              <a:t>Es decir, la eficiencia de la lavadora de botellas “</a:t>
            </a:r>
            <a:r>
              <a:rPr lang="es-ES" altLang="fr-FR" sz="900" dirty="0" err="1">
                <a:solidFill>
                  <a:srgbClr val="000000"/>
                </a:solidFill>
              </a:rPr>
              <a:t>Oceano</a:t>
            </a:r>
            <a:r>
              <a:rPr lang="es-ES" altLang="fr-FR" sz="900" dirty="0">
                <a:solidFill>
                  <a:srgbClr val="000000"/>
                </a:solidFill>
              </a:rPr>
              <a:t>” es del 80% con el 15% del total tiempo de inactividad por botella rota / caída en la entrada       </a:t>
            </a:r>
          </a:p>
          <a:p>
            <a:pPr marL="0" indent="0">
              <a:buClr>
                <a:srgbClr val="E64B00"/>
              </a:buClr>
            </a:pPr>
            <a:r>
              <a:rPr lang="es-ES" altLang="fr-FR" sz="900" dirty="0">
                <a:solidFill>
                  <a:srgbClr val="FF0000"/>
                </a:solidFill>
              </a:rPr>
              <a:t>Rendimiento </a:t>
            </a:r>
            <a:r>
              <a:rPr lang="es-ES" altLang="fr-FR" sz="9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es-ES" altLang="fr-FR" sz="900" dirty="0">
                <a:solidFill>
                  <a:srgbClr val="FF0000"/>
                </a:solidFill>
              </a:rPr>
              <a:t> hasta + 0,3%</a:t>
            </a:r>
          </a:p>
          <a:p>
            <a:pPr marL="0" indent="0">
              <a:buClr>
                <a:srgbClr val="E64B00"/>
              </a:buClr>
            </a:pPr>
            <a:endParaRPr lang="es-ES" altLang="fr-FR" sz="900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Se requieren pocas habilidades para los técnicos involucrados en las operaciones de mantenimiento / revisión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Eliminación del riesgo de falta de suministros de repuestos para la carga por estar obsoletos.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Protección contra sobrecargas mediante limitadores de par neumáticos</a:t>
            </a:r>
          </a:p>
          <a:p>
            <a:pPr>
              <a:buClr>
                <a:srgbClr val="E64B00"/>
              </a:buClr>
              <a:buFont typeface="Arial" panose="020B0604020202020204" pitchFamily="34" charset="0"/>
              <a:buChar char="•"/>
            </a:pPr>
            <a:r>
              <a:rPr lang="es-ES" altLang="fr-FR" sz="900" dirty="0">
                <a:solidFill>
                  <a:srgbClr val="000000"/>
                </a:solidFill>
              </a:rPr>
              <a:t>Posibilidad de ajustar la velocidad de las correas de alimentación para los distintos tamaños directamente desde el panel de control.</a:t>
            </a:r>
            <a:endParaRPr lang="en-US" altLang="zh-CN" sz="90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49800" y="2208212"/>
            <a:ext cx="3858418" cy="1726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900" dirty="0">
                <a:solidFill>
                  <a:srgbClr val="000000"/>
                </a:solidFill>
              </a:rPr>
              <a:t>Sustitución de la unidad de carga por un modelo nuevo más sencillo y con menos piezas de desgaste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900" dirty="0">
                <a:solidFill>
                  <a:srgbClr val="000000"/>
                </a:solidFill>
              </a:rPr>
              <a:t>El sistema también incluye un sistema de seguridad neumático en ambos ejes principales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900" dirty="0">
                <a:solidFill>
                  <a:srgbClr val="000000"/>
                </a:solidFill>
              </a:rPr>
              <a:t>La posición se restablece mediante la acción de motorreductores dedicados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900" dirty="0">
                <a:solidFill>
                  <a:srgbClr val="000000"/>
                </a:solidFill>
              </a:rPr>
              <a:t>Las cintas transportadoras que alimentan las botellas a los dedos </a:t>
            </a:r>
            <a:r>
              <a:rPr lang="es-ES" sz="900" dirty="0" err="1">
                <a:solidFill>
                  <a:srgbClr val="000000"/>
                </a:solidFill>
              </a:rPr>
              <a:t>insertadores</a:t>
            </a:r>
            <a:r>
              <a:rPr lang="es-ES" sz="900" dirty="0">
                <a:solidFill>
                  <a:srgbClr val="000000"/>
                </a:solidFill>
              </a:rPr>
              <a:t> son accionadas por un motorreductor especial con inversor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900" dirty="0">
                <a:solidFill>
                  <a:srgbClr val="000000"/>
                </a:solidFill>
              </a:rPr>
              <a:t>Los ejes de carga se accionan mediante correa dentada</a:t>
            </a:r>
            <a:endParaRPr lang="en-US" sz="900" dirty="0">
              <a:solidFill>
                <a:srgbClr val="000000"/>
              </a:solidFill>
            </a:endParaRPr>
          </a:p>
        </p:txBody>
      </p:sp>
      <p:pic>
        <p:nvPicPr>
          <p:cNvPr id="36" name="Immagine 27">
            <a:extLst>
              <a:ext uri="{FF2B5EF4-FFF2-40B4-BE49-F238E27FC236}">
                <a16:creationId xmlns:a16="http://schemas.microsoft.com/office/drawing/2014/main" id="{829D7A39-4702-40E4-B966-A5B1DCE0E9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4947" y="4020344"/>
            <a:ext cx="2848124" cy="1647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976</TotalTime>
  <Words>302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Aumente la eficiencia del equipo hasta un 0,3% y reduzca el costo de mantenimi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6-16T12:2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6T12:26:34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